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7" r:id="rId2"/>
    <p:sldId id="258" r:id="rId3"/>
    <p:sldId id="261" r:id="rId4"/>
    <p:sldId id="260" r:id="rId5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5" d="100"/>
          <a:sy n="95" d="100"/>
        </p:scale>
        <p:origin x="102" y="5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8A658-5EC2-402B-9176-D5B5EF139903}" type="datetimeFigureOut">
              <a:rPr lang="sv-SE" smtClean="0"/>
              <a:t>2023-11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0C53B5-0FEE-4DBC-B93F-9C164AA872B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6158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425637-1E8E-455D-ABCF-CA19637FECA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899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sv-SE" dirty="0" smtClean="0"/>
              <a:t>Identifiera vilka intressenter</a:t>
            </a:r>
            <a:r>
              <a:rPr lang="sv-SE" baseline="0" dirty="0" smtClean="0"/>
              <a:t> som berörs av förändringen (skriv på sidan av pappret</a:t>
            </a:r>
          </a:p>
          <a:p>
            <a:pPr marL="228600" indent="-228600">
              <a:buAutoNum type="arabicPeriod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425637-1E8E-455D-ABCF-CA19637FECA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454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425637-1E8E-455D-ABCF-CA19637FECA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008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BBCB4-99FF-4509-A4E4-EE8DBE7FBC6F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790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ida ej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text 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77493"/>
            <a:ext cx="12192000" cy="4651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133" spc="667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6PT</a:t>
            </a:r>
            <a:endParaRPr lang="sv-SE" dirty="0"/>
          </a:p>
        </p:txBody>
      </p:sp>
      <p:sp>
        <p:nvSpPr>
          <p:cNvPr id="12" name="Platshållare för text 1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203650"/>
            <a:ext cx="12192000" cy="89757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9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52pt</a:t>
            </a:r>
            <a:endParaRPr lang="sv-SE" dirty="0"/>
          </a:p>
        </p:txBody>
      </p:sp>
      <p:pic>
        <p:nvPicPr>
          <p:cNvPr id="7" name="Bildobjekt 6" descr="bård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268063"/>
            <a:ext cx="11591140" cy="181960"/>
          </a:xfrm>
          <a:prstGeom prst="rect">
            <a:avLst/>
          </a:prstGeom>
        </p:spPr>
      </p:pic>
      <p:pic>
        <p:nvPicPr>
          <p:cNvPr id="8" name="Bildobjekt 7" descr="ÖSTK_våg_stående_PPT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4842117"/>
            <a:ext cx="11591140" cy="2015884"/>
          </a:xfrm>
          <a:prstGeom prst="rect">
            <a:avLst/>
          </a:prstGeom>
        </p:spPr>
      </p:pic>
      <p:sp>
        <p:nvSpPr>
          <p:cNvPr id="2" name="Rektangel 1"/>
          <p:cNvSpPr/>
          <p:nvPr userDrawn="1"/>
        </p:nvSpPr>
        <p:spPr>
          <a:xfrm>
            <a:off x="0" y="6549648"/>
            <a:ext cx="12192000" cy="308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</p:spTree>
    <p:extLst>
      <p:ext uri="{BB962C8B-B14F-4D97-AF65-F5344CB8AC3E}">
        <p14:creationId xmlns:p14="http://schemas.microsoft.com/office/powerpoint/2010/main" val="4015866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med bård + vå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/>
          <p:cNvSpPr txBox="1"/>
          <p:nvPr userDrawn="1"/>
        </p:nvSpPr>
        <p:spPr>
          <a:xfrm>
            <a:off x="3288921" y="44570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400" dirty="0"/>
          </a:p>
        </p:txBody>
      </p:sp>
      <p:sp>
        <p:nvSpPr>
          <p:cNvPr id="8" name="textruta 7"/>
          <p:cNvSpPr txBox="1"/>
          <p:nvPr userDrawn="1"/>
        </p:nvSpPr>
        <p:spPr>
          <a:xfrm>
            <a:off x="3288921" y="44570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400" dirty="0"/>
          </a:p>
        </p:txBody>
      </p:sp>
      <p:pic>
        <p:nvPicPr>
          <p:cNvPr id="7" name="Bildobjekt 6" descr="bård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268063"/>
            <a:ext cx="11591140" cy="181960"/>
          </a:xfrm>
          <a:prstGeom prst="rect">
            <a:avLst/>
          </a:prstGeom>
        </p:spPr>
      </p:pic>
      <p:pic>
        <p:nvPicPr>
          <p:cNvPr id="17" name="Bildobjekt 16" descr="ÖSTK_våg_liggande_PPT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9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5" y="603605"/>
            <a:ext cx="8570412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0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1" y="947150"/>
            <a:ext cx="8602536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sp>
        <p:nvSpPr>
          <p:cNvPr id="13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5613" y="2097549"/>
            <a:ext cx="8581335" cy="293875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400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8pt bröd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67796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 med bård + vå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/>
          <p:cNvSpPr txBox="1"/>
          <p:nvPr userDrawn="1"/>
        </p:nvSpPr>
        <p:spPr>
          <a:xfrm>
            <a:off x="3288921" y="44570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400" dirty="0"/>
          </a:p>
        </p:txBody>
      </p:sp>
      <p:sp>
        <p:nvSpPr>
          <p:cNvPr id="8" name="textruta 7"/>
          <p:cNvSpPr txBox="1"/>
          <p:nvPr userDrawn="1"/>
        </p:nvSpPr>
        <p:spPr>
          <a:xfrm>
            <a:off x="3288921" y="44570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400" dirty="0"/>
          </a:p>
        </p:txBody>
      </p:sp>
      <p:pic>
        <p:nvPicPr>
          <p:cNvPr id="7" name="Bildobjekt 6" descr="bård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268063"/>
            <a:ext cx="11591140" cy="181960"/>
          </a:xfrm>
          <a:prstGeom prst="rect">
            <a:avLst/>
          </a:prstGeom>
        </p:spPr>
      </p:pic>
      <p:pic>
        <p:nvPicPr>
          <p:cNvPr id="17" name="Bildobjekt 16" descr="ÖSTK_våg_liggande_PPT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9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5" y="603605"/>
            <a:ext cx="8570412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0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1" y="947150"/>
            <a:ext cx="8602536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sp>
        <p:nvSpPr>
          <p:cNvPr id="11" name="Platshållare för text 5"/>
          <p:cNvSpPr>
            <a:spLocks noGrp="1"/>
          </p:cNvSpPr>
          <p:nvPr>
            <p:ph type="body" sz="quarter" idx="18" hasCustomPrompt="1"/>
          </p:nvPr>
        </p:nvSpPr>
        <p:spPr>
          <a:xfrm>
            <a:off x="694411" y="2097548"/>
            <a:ext cx="8602535" cy="2938752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buSzPct val="70000"/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23765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/>
              <a:t>Skriv rubrik här</a:t>
            </a:r>
            <a:br>
              <a:rPr lang="da-DK" noProof="0"/>
            </a:br>
            <a:r>
              <a:rPr lang="da-DK" noProof="0"/>
              <a:t>Max. 2 rada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1588098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B33C2-54EE-4A44-9B78-6F01870CE73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28527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ida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 3"/>
          <p:cNvSpPr>
            <a:spLocks noGrp="1"/>
          </p:cNvSpPr>
          <p:nvPr>
            <p:ph type="pic" sz="quarter" idx="10"/>
          </p:nvPr>
        </p:nvSpPr>
        <p:spPr>
          <a:xfrm>
            <a:off x="305892" y="294968"/>
            <a:ext cx="11591139" cy="182594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133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sv-SE" dirty="0"/>
          </a:p>
        </p:txBody>
      </p:sp>
      <p:pic>
        <p:nvPicPr>
          <p:cNvPr id="11" name="Bildobjekt 10" descr="bård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2" y="2120913"/>
            <a:ext cx="11591139" cy="96617"/>
          </a:xfrm>
          <a:prstGeom prst="rect">
            <a:avLst/>
          </a:prstGeom>
        </p:spPr>
      </p:pic>
      <p:sp>
        <p:nvSpPr>
          <p:cNvPr id="12" name="Platshållare för text 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790357"/>
            <a:ext cx="12192000" cy="4651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133" spc="667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6PT</a:t>
            </a:r>
            <a:endParaRPr lang="sv-SE" dirty="0"/>
          </a:p>
        </p:txBody>
      </p:sp>
      <p:sp>
        <p:nvSpPr>
          <p:cNvPr id="13" name="Platshållare för text 1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616514"/>
            <a:ext cx="12192000" cy="89757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9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52pt</a:t>
            </a:r>
            <a:endParaRPr lang="sv-SE" dirty="0"/>
          </a:p>
        </p:txBody>
      </p:sp>
      <p:pic>
        <p:nvPicPr>
          <p:cNvPr id="14" name="Bildobjekt 13" descr="ÖSTK_våg_stående_PPTX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4842117"/>
            <a:ext cx="11591140" cy="2015884"/>
          </a:xfrm>
          <a:prstGeom prst="rect">
            <a:avLst/>
          </a:prstGeom>
        </p:spPr>
      </p:pic>
      <p:sp>
        <p:nvSpPr>
          <p:cNvPr id="15" name="Rektangel 14"/>
          <p:cNvSpPr/>
          <p:nvPr userDrawn="1"/>
        </p:nvSpPr>
        <p:spPr>
          <a:xfrm>
            <a:off x="0" y="6549648"/>
            <a:ext cx="12192000" cy="308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</p:spTree>
    <p:extLst>
      <p:ext uri="{BB962C8B-B14F-4D97-AF65-F5344CB8AC3E}">
        <p14:creationId xmlns:p14="http://schemas.microsoft.com/office/powerpoint/2010/main" val="2700009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rö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7655" cy="6858000"/>
          </a:xfrm>
          <a:prstGeom prst="rect">
            <a:avLst/>
          </a:prstGeom>
        </p:spPr>
      </p:pic>
      <p:sp>
        <p:nvSpPr>
          <p:cNvPr id="9" name="Platshållare för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377493"/>
            <a:ext cx="12192000" cy="4651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133" spc="667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6PT</a:t>
            </a:r>
            <a:endParaRPr lang="sv-SE" dirty="0"/>
          </a:p>
        </p:txBody>
      </p:sp>
      <p:sp>
        <p:nvSpPr>
          <p:cNvPr id="10" name="Platshållare för text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03650"/>
            <a:ext cx="12192000" cy="89757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933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52p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0970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1"/>
            <a:ext cx="12252039" cy="6888577"/>
          </a:xfrm>
          <a:prstGeom prst="rect">
            <a:avLst/>
          </a:prstGeom>
        </p:spPr>
      </p:pic>
      <p:sp>
        <p:nvSpPr>
          <p:cNvPr id="9" name="Platshållare för text 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77493"/>
            <a:ext cx="12192000" cy="4651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133" spc="667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6PT</a:t>
            </a:r>
            <a:endParaRPr lang="sv-SE" dirty="0"/>
          </a:p>
        </p:txBody>
      </p:sp>
      <p:sp>
        <p:nvSpPr>
          <p:cNvPr id="10" name="Platshållare för text 1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203650"/>
            <a:ext cx="12192000" cy="89757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69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52p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92337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5" y="603605"/>
            <a:ext cx="8570412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2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1" y="947150"/>
            <a:ext cx="8602536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pic>
        <p:nvPicPr>
          <p:cNvPr id="9" name="Bildobjekt 8" descr="ÖSTK_våg_liggande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6" name="Platshållare för text 5"/>
          <p:cNvSpPr>
            <a:spLocks noGrp="1"/>
          </p:cNvSpPr>
          <p:nvPr>
            <p:ph type="body" sz="quarter" idx="18" hasCustomPrompt="1"/>
          </p:nvPr>
        </p:nvSpPr>
        <p:spPr>
          <a:xfrm>
            <a:off x="716187" y="2097548"/>
            <a:ext cx="8580760" cy="2938752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buSzPct val="70000"/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584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utan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5" y="603605"/>
            <a:ext cx="8570412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2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1" y="947150"/>
            <a:ext cx="8602536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pic>
        <p:nvPicPr>
          <p:cNvPr id="9" name="Bildobjekt 8" descr="ÖSTK_våg_liggande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11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5613" y="2097549"/>
            <a:ext cx="8581335" cy="293875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400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8pt bröd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7757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ÖSTK_våg_liggande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10" name="Platshållare för bild 15"/>
          <p:cNvSpPr>
            <a:spLocks noGrp="1"/>
          </p:cNvSpPr>
          <p:nvPr>
            <p:ph type="pic" sz="quarter" idx="20"/>
          </p:nvPr>
        </p:nvSpPr>
        <p:spPr>
          <a:xfrm>
            <a:off x="7406968" y="772537"/>
            <a:ext cx="4053080" cy="4488289"/>
          </a:xfrm>
          <a:prstGeom prst="rect">
            <a:avLst/>
          </a:prstGeom>
        </p:spPr>
        <p:txBody>
          <a:bodyPr vert="horz"/>
          <a:lstStyle>
            <a:lvl1pPr marL="0" indent="0" algn="ctr">
              <a:buFontTx/>
              <a:buNone/>
              <a:defRPr sz="2133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6" y="603605"/>
            <a:ext cx="6351785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8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0" y="947150"/>
            <a:ext cx="6384815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sp>
        <p:nvSpPr>
          <p:cNvPr id="20" name="Platshållare för text 5"/>
          <p:cNvSpPr>
            <a:spLocks noGrp="1"/>
          </p:cNvSpPr>
          <p:nvPr>
            <p:ph type="body" sz="quarter" idx="18" hasCustomPrompt="1"/>
          </p:nvPr>
        </p:nvSpPr>
        <p:spPr>
          <a:xfrm>
            <a:off x="716187" y="1769809"/>
            <a:ext cx="6362133" cy="3491017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20000"/>
              </a:lnSpc>
              <a:buSzPct val="70000"/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</a:p>
          <a:p>
            <a:pPr lvl="0"/>
            <a:r>
              <a:rPr lang="sv-SE" dirty="0" smtClean="0"/>
              <a:t>Arial 18pt punktlist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3575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ÖSTK_våg_liggande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57473"/>
            <a:ext cx="12192000" cy="1613561"/>
          </a:xfrm>
          <a:prstGeom prst="rect">
            <a:avLst/>
          </a:prstGeom>
        </p:spPr>
      </p:pic>
      <p:sp>
        <p:nvSpPr>
          <p:cNvPr id="10" name="Platshållare för bild 15"/>
          <p:cNvSpPr>
            <a:spLocks noGrp="1"/>
          </p:cNvSpPr>
          <p:nvPr>
            <p:ph type="pic" sz="quarter" idx="20"/>
          </p:nvPr>
        </p:nvSpPr>
        <p:spPr>
          <a:xfrm>
            <a:off x="7406968" y="772537"/>
            <a:ext cx="4053080" cy="4488289"/>
          </a:xfrm>
          <a:prstGeom prst="rect">
            <a:avLst/>
          </a:prstGeom>
        </p:spPr>
        <p:txBody>
          <a:bodyPr vert="horz"/>
          <a:lstStyle>
            <a:lvl1pPr marL="0" indent="0" algn="ctr">
              <a:buFontTx/>
              <a:buNone/>
              <a:defRPr sz="2133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6" y="603605"/>
            <a:ext cx="6351785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  <p:sp>
        <p:nvSpPr>
          <p:cNvPr id="18" name="Platshållare för tex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94410" y="947150"/>
            <a:ext cx="6384815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sp>
        <p:nvSpPr>
          <p:cNvPr id="7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5613" y="1769788"/>
            <a:ext cx="6362708" cy="3491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400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18pt bröd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79669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sida/bildsida med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15"/>
          <p:cNvSpPr>
            <a:spLocks noGrp="1"/>
          </p:cNvSpPr>
          <p:nvPr>
            <p:ph type="pic" sz="quarter" idx="15"/>
          </p:nvPr>
        </p:nvSpPr>
        <p:spPr>
          <a:xfrm>
            <a:off x="841205" y="2053850"/>
            <a:ext cx="10520516" cy="4481599"/>
          </a:xfrm>
          <a:prstGeom prst="rect">
            <a:avLst/>
          </a:prstGeom>
        </p:spPr>
        <p:txBody>
          <a:bodyPr vert="horz"/>
          <a:lstStyle>
            <a:lvl1pPr marL="0" indent="0" algn="ctr">
              <a:buFontTx/>
              <a:buNone/>
              <a:defRPr sz="2133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sv-SE" dirty="0"/>
          </a:p>
        </p:txBody>
      </p:sp>
      <p:pic>
        <p:nvPicPr>
          <p:cNvPr id="8" name="Bildobjekt 7" descr="bård_PPT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93" y="268063"/>
            <a:ext cx="11591140" cy="181960"/>
          </a:xfrm>
          <a:prstGeom prst="rect">
            <a:avLst/>
          </a:prstGeom>
        </p:spPr>
      </p:pic>
      <p:sp>
        <p:nvSpPr>
          <p:cNvPr id="9" name="Platshållare för text 10"/>
          <p:cNvSpPr>
            <a:spLocks noGrp="1"/>
          </p:cNvSpPr>
          <p:nvPr>
            <p:ph type="body" sz="quarter" idx="16" hasCustomPrompt="1"/>
          </p:nvPr>
        </p:nvSpPr>
        <p:spPr>
          <a:xfrm>
            <a:off x="694411" y="947150"/>
            <a:ext cx="8602536" cy="6100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4533" baseline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Rubrik Arial 34pt</a:t>
            </a:r>
            <a:endParaRPr lang="sv-SE" dirty="0"/>
          </a:p>
        </p:txBody>
      </p:sp>
      <p:sp>
        <p:nvSpPr>
          <p:cNvPr id="12" name="Platshållare för text 7"/>
          <p:cNvSpPr>
            <a:spLocks noGrp="1"/>
          </p:cNvSpPr>
          <p:nvPr>
            <p:ph type="body" sz="quarter" idx="14" hasCustomPrompt="1"/>
          </p:nvPr>
        </p:nvSpPr>
        <p:spPr>
          <a:xfrm>
            <a:off x="726535" y="603605"/>
            <a:ext cx="8570412" cy="2853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33" b="1" spc="133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ARIAL MELLANRUBRIK 16P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38515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716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7.png"/><Relationship Id="rId2" Type="http://schemas.openxmlformats.org/officeDocument/2006/relationships/tags" Target="../tags/tag15.xml"/><Relationship Id="rId16" Type="http://schemas.openxmlformats.org/officeDocument/2006/relationships/image" Target="../media/image6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15"/>
          </p:nvPr>
        </p:nvSpPr>
        <p:spPr>
          <a:xfrm>
            <a:off x="705299" y="351932"/>
            <a:ext cx="8602536" cy="610037"/>
          </a:xfrm>
        </p:spPr>
        <p:txBody>
          <a:bodyPr/>
          <a:lstStyle/>
          <a:p>
            <a:r>
              <a:rPr lang="sv-SE" sz="3200" dirty="0"/>
              <a:t>Intressent, målgrupp eller aktör?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/>
          </p:nvPr>
        </p:nvSpPr>
        <p:spPr>
          <a:xfrm>
            <a:off x="818641" y="1226691"/>
            <a:ext cx="9857043" cy="2938752"/>
          </a:xfrm>
        </p:spPr>
        <p:txBody>
          <a:bodyPr/>
          <a:lstStyle/>
          <a:p>
            <a:pPr marL="0" indent="0">
              <a:buNone/>
            </a:pPr>
            <a:r>
              <a:rPr lang="sv-SE" dirty="0">
                <a:solidFill>
                  <a:schemeClr val="tx1"/>
                </a:solidFill>
              </a:rPr>
              <a:t>När vi pratar om kommunikation blandar vi ofta begreppen intressenter och målgrupper. </a:t>
            </a:r>
            <a:endParaRPr lang="sv-SE" dirty="0" smtClean="0">
              <a:solidFill>
                <a:schemeClr val="tx1"/>
              </a:solidFill>
            </a:endParaRPr>
          </a:p>
          <a:p>
            <a:r>
              <a:rPr lang="sv-SE" sz="1867" b="1" dirty="0">
                <a:solidFill>
                  <a:schemeClr val="tx1"/>
                </a:solidFill>
              </a:rPr>
              <a:t>Intressenter</a:t>
            </a:r>
            <a:r>
              <a:rPr lang="sv-SE" sz="1867" dirty="0">
                <a:solidFill>
                  <a:schemeClr val="tx1"/>
                </a:solidFill>
              </a:rPr>
              <a:t> är alla de grupper och individer som på ett eller annat sätt kan påverka eller påverkas av en förändring. </a:t>
            </a:r>
          </a:p>
          <a:p>
            <a:r>
              <a:rPr lang="sv-SE" sz="1867" b="1" dirty="0">
                <a:solidFill>
                  <a:schemeClr val="tx1"/>
                </a:solidFill>
              </a:rPr>
              <a:t>Målgrupper</a:t>
            </a:r>
            <a:r>
              <a:rPr lang="sv-SE" sz="1867" dirty="0">
                <a:solidFill>
                  <a:schemeClr val="tx1"/>
                </a:solidFill>
              </a:rPr>
              <a:t> är den eller de grupper som vi riktar oss till med en specifik insats. </a:t>
            </a:r>
          </a:p>
          <a:p>
            <a:r>
              <a:rPr lang="sv-SE" sz="1867" b="1" dirty="0">
                <a:solidFill>
                  <a:schemeClr val="tx1"/>
                </a:solidFill>
              </a:rPr>
              <a:t>Aktörer</a:t>
            </a:r>
            <a:r>
              <a:rPr lang="sv-SE" sz="1867" dirty="0">
                <a:solidFill>
                  <a:schemeClr val="tx1"/>
                </a:solidFill>
              </a:rPr>
              <a:t> är de som har mandat att agera inom ramen för vår förändring. </a:t>
            </a:r>
          </a:p>
          <a:p>
            <a:pPr marL="0" indent="0">
              <a:buNone/>
            </a:pPr>
            <a:endParaRPr lang="sv-SE" sz="1867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sv-SE" sz="1867" dirty="0">
                <a:solidFill>
                  <a:schemeClr val="tx1"/>
                </a:solidFill>
              </a:rPr>
              <a:t>Att göra en intressentanalys är första steget i att planera sin kommunikation. Med hjälp av intressentanalysen definierar och prioriterar vi grupper och individer i kommunikationsarbetet.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85577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26"/>
          <p:cNvGrpSpPr/>
          <p:nvPr/>
        </p:nvGrpSpPr>
        <p:grpSpPr>
          <a:xfrm>
            <a:off x="907765" y="1407592"/>
            <a:ext cx="8055183" cy="5141762"/>
            <a:chOff x="1955897" y="1604688"/>
            <a:chExt cx="5563463" cy="4455586"/>
          </a:xfrm>
        </p:grpSpPr>
        <p:grpSp>
          <p:nvGrpSpPr>
            <p:cNvPr id="6" name="Group 53"/>
            <p:cNvGrpSpPr/>
            <p:nvPr/>
          </p:nvGrpSpPr>
          <p:grpSpPr>
            <a:xfrm>
              <a:off x="3226320" y="1757086"/>
              <a:ext cx="274572" cy="3739467"/>
              <a:chOff x="2964291" y="1902226"/>
              <a:chExt cx="274572" cy="3739467"/>
            </a:xfrm>
          </p:grpSpPr>
          <p:sp>
            <p:nvSpPr>
              <p:cNvPr id="18" name="Content Placeholder 2"/>
              <p:cNvSpPr txBox="1">
                <a:spLocks/>
              </p:cNvSpPr>
              <p:nvPr>
                <p:custDataLst>
                  <p:tags r:id="rId12"/>
                </p:custDataLst>
              </p:nvPr>
            </p:nvSpPr>
            <p:spPr>
              <a:xfrm>
                <a:off x="2964291" y="1902226"/>
                <a:ext cx="274572" cy="213362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defRPr sz="12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/>
                  <a:buChar char="–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marR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44000" algn="l" defTabSz="914400" rtl="0" eaLnBrk="1" latinLnBrk="0" hangingPunct="1">
                  <a:spcBef>
                    <a:spcPts val="600"/>
                  </a:spcBef>
                  <a:buClrTx/>
                  <a:buFont typeface="Arial" pitchFamily="34" charset="0"/>
                  <a:buChar char="·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219170">
                  <a:spcBef>
                    <a:spcPts val="800"/>
                  </a:spcBef>
                </a:pPr>
                <a:r>
                  <a:rPr lang="da-DK" sz="1600" b="1" dirty="0" err="1">
                    <a:solidFill>
                      <a:prstClr val="black"/>
                    </a:solidFill>
                    <a:latin typeface="Arial"/>
                  </a:rPr>
                  <a:t>Hög</a:t>
                </a:r>
                <a:endParaRPr lang="da-DK" sz="1600" b="1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9" name="Content Placeholder 2"/>
              <p:cNvSpPr txBox="1">
                <a:spLocks/>
              </p:cNvSpPr>
              <p:nvPr>
                <p:custDataLst>
                  <p:tags r:id="rId13"/>
                </p:custDataLst>
              </p:nvPr>
            </p:nvSpPr>
            <p:spPr>
              <a:xfrm>
                <a:off x="2987541" y="5428331"/>
                <a:ext cx="251322" cy="213362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defRPr sz="12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/>
                  <a:buChar char="–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marR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44000" algn="l" defTabSz="914400" rtl="0" eaLnBrk="1" latinLnBrk="0" hangingPunct="1">
                  <a:spcBef>
                    <a:spcPts val="600"/>
                  </a:spcBef>
                  <a:buClrTx/>
                  <a:buFont typeface="Arial" pitchFamily="34" charset="0"/>
                  <a:buChar char="·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219170">
                  <a:spcBef>
                    <a:spcPts val="800"/>
                  </a:spcBef>
                </a:pPr>
                <a:r>
                  <a:rPr lang="da-DK" sz="1600" b="1" dirty="0">
                    <a:solidFill>
                      <a:prstClr val="black"/>
                    </a:solidFill>
                    <a:latin typeface="Arial"/>
                  </a:rPr>
                  <a:t>Låg</a:t>
                </a:r>
              </a:p>
            </p:txBody>
          </p:sp>
        </p:grpSp>
        <p:sp>
          <p:nvSpPr>
            <p:cNvPr id="7" name="Content Placeholder 2"/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955897" y="3427805"/>
              <a:ext cx="1078358" cy="42672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åverkan</a:t>
              </a:r>
              <a:br>
                <a:rPr lang="da-DK" sz="1600" b="1" dirty="0">
                  <a:solidFill>
                    <a:prstClr val="black"/>
                  </a:solidFill>
                  <a:latin typeface="Arial"/>
                </a:rPr>
              </a:b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å förändringen</a:t>
              </a:r>
            </a:p>
          </p:txBody>
        </p:sp>
        <p:sp>
          <p:nvSpPr>
            <p:cNvPr id="8" name="Line 5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1273310" y="3612471"/>
              <a:ext cx="370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" name="Content Placeholder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658676" y="5512763"/>
              <a:ext cx="511500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Negativ</a:t>
              </a:r>
            </a:p>
          </p:txBody>
        </p:sp>
        <p:sp>
          <p:nvSpPr>
            <p:cNvPr id="10" name="Content Placeholder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914629" y="5512763"/>
              <a:ext cx="465000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ositiv</a:t>
              </a:r>
            </a:p>
          </p:txBody>
        </p:sp>
        <p:sp>
          <p:nvSpPr>
            <p:cNvPr id="11" name="Content Placeholder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227837" y="5846912"/>
              <a:ext cx="2569681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70">
                <a:spcBef>
                  <a:spcPts val="800"/>
                </a:spcBef>
              </a:pP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Attityd</a:t>
              </a: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till</a:t>
              </a: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 den planerade </a:t>
              </a: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förändringen</a:t>
              </a:r>
              <a:endParaRPr lang="da-DK" sz="1600" b="1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" name="Rectangl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58676" y="1757086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3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658676" y="3612471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4" name="Rectangle 2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12676" y="1757086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5" name="Rectangle 2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12676" y="3612471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6" name="Line 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3658676" y="5772171"/>
              <a:ext cx="370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7" name="Freeform 1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582191" y="1604688"/>
              <a:ext cx="3937169" cy="38631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10"/>
                </a:cxn>
                <a:cxn ang="0">
                  <a:pos x="5332" y="2810"/>
                </a:cxn>
              </a:cxnLst>
              <a:rect l="0" t="0" r="r" b="b"/>
              <a:pathLst>
                <a:path w="5332" h="2810">
                  <a:moveTo>
                    <a:pt x="0" y="0"/>
                  </a:moveTo>
                  <a:lnTo>
                    <a:pt x="0" y="2810"/>
                  </a:lnTo>
                  <a:lnTo>
                    <a:pt x="5332" y="2810"/>
                  </a:lnTo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0" rIns="0" bIns="0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0" name="Platshållare för text 1"/>
          <p:cNvSpPr>
            <a:spLocks noGrp="1"/>
          </p:cNvSpPr>
          <p:nvPr>
            <p:ph type="body" sz="quarter" idx="14"/>
          </p:nvPr>
        </p:nvSpPr>
        <p:spPr>
          <a:xfrm>
            <a:off x="392534" y="423394"/>
            <a:ext cx="8570412" cy="455551"/>
          </a:xfrm>
        </p:spPr>
        <p:txBody>
          <a:bodyPr/>
          <a:lstStyle/>
          <a:p>
            <a:r>
              <a:rPr lang="sv-SE" dirty="0" smtClean="0"/>
              <a:t>Gör en målgruppsanaly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46385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llips 27"/>
          <p:cNvSpPr/>
          <p:nvPr/>
        </p:nvSpPr>
        <p:spPr>
          <a:xfrm>
            <a:off x="6247834" y="3339535"/>
            <a:ext cx="1222642" cy="1130787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Ellips 22"/>
          <p:cNvSpPr/>
          <p:nvPr/>
        </p:nvSpPr>
        <p:spPr>
          <a:xfrm>
            <a:off x="5838997" y="1672703"/>
            <a:ext cx="1222642" cy="1130787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3" name="Group 126"/>
          <p:cNvGrpSpPr/>
          <p:nvPr/>
        </p:nvGrpSpPr>
        <p:grpSpPr>
          <a:xfrm>
            <a:off x="416699" y="1373725"/>
            <a:ext cx="8055183" cy="5141762"/>
            <a:chOff x="1955897" y="1604688"/>
            <a:chExt cx="5563463" cy="4455586"/>
          </a:xfrm>
        </p:grpSpPr>
        <p:grpSp>
          <p:nvGrpSpPr>
            <p:cNvPr id="4" name="Group 53"/>
            <p:cNvGrpSpPr/>
            <p:nvPr/>
          </p:nvGrpSpPr>
          <p:grpSpPr>
            <a:xfrm>
              <a:off x="3226320" y="1757086"/>
              <a:ext cx="274572" cy="3739467"/>
              <a:chOff x="2964291" y="1902226"/>
              <a:chExt cx="274572" cy="3739467"/>
            </a:xfrm>
          </p:grpSpPr>
          <p:sp>
            <p:nvSpPr>
              <p:cNvPr id="17" name="Content Placeholder 2"/>
              <p:cNvSpPr txBox="1">
                <a:spLocks/>
              </p:cNvSpPr>
              <p:nvPr>
                <p:custDataLst>
                  <p:tags r:id="rId12"/>
                </p:custDataLst>
              </p:nvPr>
            </p:nvSpPr>
            <p:spPr>
              <a:xfrm>
                <a:off x="2964291" y="1902226"/>
                <a:ext cx="274572" cy="213362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defRPr sz="12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/>
                  <a:buChar char="–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marR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44000" algn="l" defTabSz="914400" rtl="0" eaLnBrk="1" latinLnBrk="0" hangingPunct="1">
                  <a:spcBef>
                    <a:spcPts val="600"/>
                  </a:spcBef>
                  <a:buClrTx/>
                  <a:buFont typeface="Arial" pitchFamily="34" charset="0"/>
                  <a:buChar char="·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219170">
                  <a:spcBef>
                    <a:spcPts val="800"/>
                  </a:spcBef>
                </a:pPr>
                <a:r>
                  <a:rPr lang="da-DK" sz="1600" b="1" dirty="0" err="1">
                    <a:solidFill>
                      <a:prstClr val="black"/>
                    </a:solidFill>
                    <a:latin typeface="Arial"/>
                  </a:rPr>
                  <a:t>Hög</a:t>
                </a:r>
                <a:endParaRPr lang="da-DK" sz="1600" b="1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8" name="Content Placeholder 2"/>
              <p:cNvSpPr txBox="1">
                <a:spLocks/>
              </p:cNvSpPr>
              <p:nvPr>
                <p:custDataLst>
                  <p:tags r:id="rId13"/>
                </p:custDataLst>
              </p:nvPr>
            </p:nvSpPr>
            <p:spPr>
              <a:xfrm>
                <a:off x="2987541" y="5428331"/>
                <a:ext cx="251322" cy="213362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defRPr sz="12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marR="0" indent="-144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Font typeface="Arial"/>
                  <a:buChar char="–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marR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44000" algn="l" defTabSz="914400" rtl="0" eaLnBrk="1" latinLnBrk="0" hangingPunct="1">
                  <a:spcBef>
                    <a:spcPts val="600"/>
                  </a:spcBef>
                  <a:buClrTx/>
                  <a:buFont typeface="Arial" pitchFamily="34" charset="0"/>
                  <a:buChar char="·"/>
                  <a:defRPr sz="12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219170">
                  <a:spcBef>
                    <a:spcPts val="800"/>
                  </a:spcBef>
                </a:pPr>
                <a:r>
                  <a:rPr lang="da-DK" sz="1600" b="1" dirty="0">
                    <a:solidFill>
                      <a:prstClr val="black"/>
                    </a:solidFill>
                    <a:latin typeface="Arial"/>
                  </a:rPr>
                  <a:t>Låg</a:t>
                </a:r>
              </a:p>
            </p:txBody>
          </p:sp>
        </p:grpSp>
        <p:sp>
          <p:nvSpPr>
            <p:cNvPr id="6" name="Content Placeholder 2"/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955897" y="3427805"/>
              <a:ext cx="1078358" cy="42672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åverkan</a:t>
              </a:r>
              <a:br>
                <a:rPr lang="da-DK" sz="1600" b="1" dirty="0">
                  <a:solidFill>
                    <a:prstClr val="black"/>
                  </a:solidFill>
                  <a:latin typeface="Arial"/>
                </a:rPr>
              </a:b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å förändringen</a:t>
              </a:r>
            </a:p>
          </p:txBody>
        </p:sp>
        <p:sp>
          <p:nvSpPr>
            <p:cNvPr id="7" name="Line 5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1273310" y="3612471"/>
              <a:ext cx="370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" name="Content Placeholder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658676" y="5512763"/>
              <a:ext cx="511500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Negativ</a:t>
              </a:r>
            </a:p>
          </p:txBody>
        </p:sp>
        <p:sp>
          <p:nvSpPr>
            <p:cNvPr id="9" name="Content Placeholder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914629" y="5512763"/>
              <a:ext cx="465000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spcBef>
                  <a:spcPts val="800"/>
                </a:spcBef>
              </a:pP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Positiv</a:t>
              </a:r>
            </a:p>
          </p:txBody>
        </p:sp>
        <p:sp>
          <p:nvSpPr>
            <p:cNvPr id="10" name="Content Placeholder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227837" y="5846912"/>
              <a:ext cx="2569681" cy="21336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219170">
                <a:spcBef>
                  <a:spcPts val="800"/>
                </a:spcBef>
              </a:pP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Attityd</a:t>
              </a: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till</a:t>
              </a:r>
              <a:r>
                <a:rPr lang="da-DK" sz="1600" b="1" dirty="0">
                  <a:solidFill>
                    <a:prstClr val="black"/>
                  </a:solidFill>
                  <a:latin typeface="Arial"/>
                </a:rPr>
                <a:t> den planerade </a:t>
              </a:r>
              <a:r>
                <a:rPr lang="da-DK" sz="1600" b="1" dirty="0" err="1">
                  <a:solidFill>
                    <a:prstClr val="black"/>
                  </a:solidFill>
                  <a:latin typeface="Arial"/>
                </a:rPr>
                <a:t>förändringen</a:t>
              </a:r>
              <a:endParaRPr lang="da-DK" sz="1600" b="1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" name="Rectangl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58676" y="1757086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2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658676" y="3612471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3" name="Rectangle 2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512676" y="1757086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4" name="Rectangle 2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12676" y="3612471"/>
              <a:ext cx="1854000" cy="1855385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lIns="96000" tIns="96000" rIns="96000" bIns="96000" anchor="ctr" anchorCtr="1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 dirty="0">
                <a:solidFill>
                  <a:srgbClr val="342F2B"/>
                </a:solidFill>
                <a:latin typeface="Arial"/>
              </a:endParaRPr>
            </a:p>
          </p:txBody>
        </p:sp>
        <p:sp>
          <p:nvSpPr>
            <p:cNvPr id="15" name="Line 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3658676" y="5772171"/>
              <a:ext cx="370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" name="Freeform 1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582191" y="1604688"/>
              <a:ext cx="3937169" cy="38631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10"/>
                </a:cxn>
                <a:cxn ang="0">
                  <a:pos x="5332" y="2810"/>
                </a:cxn>
              </a:cxnLst>
              <a:rect l="0" t="0" r="r" b="b"/>
              <a:pathLst>
                <a:path w="5332" h="2810">
                  <a:moveTo>
                    <a:pt x="0" y="0"/>
                  </a:moveTo>
                  <a:lnTo>
                    <a:pt x="0" y="2810"/>
                  </a:lnTo>
                  <a:lnTo>
                    <a:pt x="5332" y="2810"/>
                  </a:lnTo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0" rIns="0" bIns="0">
              <a:noAutofit/>
            </a:bodyPr>
            <a:lstStyle/>
            <a:p>
              <a:pPr defTabSz="609585">
                <a:spcBef>
                  <a:spcPts val="800"/>
                </a:spcBef>
              </a:pPr>
              <a:endParaRPr lang="da-DK" sz="160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9" name="Platshållare för text 1"/>
          <p:cNvSpPr>
            <a:spLocks noGrp="1"/>
          </p:cNvSpPr>
          <p:nvPr>
            <p:ph type="body" sz="quarter" idx="14"/>
          </p:nvPr>
        </p:nvSpPr>
        <p:spPr>
          <a:xfrm>
            <a:off x="290188" y="521237"/>
            <a:ext cx="8570412" cy="455551"/>
          </a:xfrm>
        </p:spPr>
        <p:txBody>
          <a:bodyPr/>
          <a:lstStyle/>
          <a:p>
            <a:r>
              <a:rPr lang="sv-SE" dirty="0" smtClean="0"/>
              <a:t>Gör en målgruppsanalys</a:t>
            </a:r>
            <a:endParaRPr lang="sv-SE" dirty="0"/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12" y="1977853"/>
            <a:ext cx="650159" cy="650159"/>
          </a:xfrm>
          <a:prstGeom prst="rect">
            <a:avLst/>
          </a:prstGeom>
        </p:spPr>
      </p:pic>
      <p:pic>
        <p:nvPicPr>
          <p:cNvPr id="20" name="Bildobjekt 1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11" y="4493171"/>
            <a:ext cx="650159" cy="650159"/>
          </a:xfrm>
          <a:prstGeom prst="rect">
            <a:avLst/>
          </a:prstGeom>
        </p:spPr>
      </p:pic>
      <p:sp>
        <p:nvSpPr>
          <p:cNvPr id="21" name="Ellips 20"/>
          <p:cNvSpPr/>
          <p:nvPr/>
        </p:nvSpPr>
        <p:spPr>
          <a:xfrm>
            <a:off x="2980640" y="1672703"/>
            <a:ext cx="1222642" cy="1130787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2" name="Bildobjekt 2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969" y="1977853"/>
            <a:ext cx="650159" cy="650159"/>
          </a:xfrm>
          <a:prstGeom prst="rect">
            <a:avLst/>
          </a:prstGeom>
        </p:spPr>
      </p:pic>
      <p:cxnSp>
        <p:nvCxnSpPr>
          <p:cNvPr id="25" name="Rak pilkoppling 24"/>
          <p:cNvCxnSpPr>
            <a:stCxn id="21" idx="6"/>
            <a:endCxn id="23" idx="2"/>
          </p:cNvCxnSpPr>
          <p:nvPr/>
        </p:nvCxnSpPr>
        <p:spPr>
          <a:xfrm>
            <a:off x="4203282" y="2238097"/>
            <a:ext cx="1635715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Ellips 25"/>
          <p:cNvSpPr/>
          <p:nvPr/>
        </p:nvSpPr>
        <p:spPr>
          <a:xfrm>
            <a:off x="2953769" y="4298930"/>
            <a:ext cx="1222642" cy="1130787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7" name="Bildobjekt 2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076" y="3533776"/>
            <a:ext cx="650159" cy="650159"/>
          </a:xfrm>
          <a:prstGeom prst="rect">
            <a:avLst/>
          </a:prstGeom>
        </p:spPr>
      </p:pic>
      <p:cxnSp>
        <p:nvCxnSpPr>
          <p:cNvPr id="29" name="Rak pilkoppling 28"/>
          <p:cNvCxnSpPr>
            <a:endCxn id="28" idx="2"/>
          </p:cNvCxnSpPr>
          <p:nvPr/>
        </p:nvCxnSpPr>
        <p:spPr>
          <a:xfrm flipV="1">
            <a:off x="4203282" y="3904929"/>
            <a:ext cx="2044552" cy="91726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Ellips 30"/>
          <p:cNvSpPr/>
          <p:nvPr/>
        </p:nvSpPr>
        <p:spPr>
          <a:xfrm>
            <a:off x="8860600" y="730630"/>
            <a:ext cx="444174" cy="417093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2" name="textruta 31"/>
          <p:cNvSpPr txBox="1"/>
          <p:nvPr/>
        </p:nvSpPr>
        <p:spPr>
          <a:xfrm>
            <a:off x="9304774" y="762986"/>
            <a:ext cx="1767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Nuvarande position</a:t>
            </a:r>
            <a:endParaRPr lang="sv-SE" sz="1200" dirty="0"/>
          </a:p>
        </p:txBody>
      </p:sp>
      <p:sp>
        <p:nvSpPr>
          <p:cNvPr id="33" name="Ellips 32"/>
          <p:cNvSpPr/>
          <p:nvPr/>
        </p:nvSpPr>
        <p:spPr>
          <a:xfrm>
            <a:off x="8830455" y="1242608"/>
            <a:ext cx="444174" cy="41709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Rektangel 33"/>
          <p:cNvSpPr/>
          <p:nvPr/>
        </p:nvSpPr>
        <p:spPr>
          <a:xfrm>
            <a:off x="9323596" y="1312654"/>
            <a:ext cx="12843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200" dirty="0" smtClean="0"/>
              <a:t>Önskad </a:t>
            </a:r>
            <a:r>
              <a:rPr lang="sv-SE" sz="1200" dirty="0"/>
              <a:t>position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867592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16"/>
          </p:nvPr>
        </p:nvSpPr>
        <p:spPr>
          <a:xfrm>
            <a:off x="448521" y="537335"/>
            <a:ext cx="8602536" cy="610037"/>
          </a:xfrm>
        </p:spPr>
        <p:txBody>
          <a:bodyPr/>
          <a:lstStyle/>
          <a:p>
            <a:r>
              <a:rPr lang="da-DK" sz="3200" dirty="0"/>
              <a:t>Målgruppsanalys fortsättning</a:t>
            </a:r>
            <a:endParaRPr lang="sv-SE" sz="32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48522" y="1571012"/>
          <a:ext cx="11351879" cy="4928400"/>
        </p:xfrm>
        <a:graphic>
          <a:graphicData uri="http://schemas.openxmlformats.org/drawingml/2006/table">
            <a:tbl>
              <a:tblPr firstRow="1" bandCol="1">
                <a:tableStyleId>{912C8C85-51F0-491E-9774-3900AFEF0FD7}</a:tableStyleId>
              </a:tblPr>
              <a:tblGrid>
                <a:gridCol w="22767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31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94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279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14560">
                <a:tc>
                  <a:txBody>
                    <a:bodyPr/>
                    <a:lstStyle/>
                    <a:p>
                      <a:pPr marL="0" marR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500" u="none" strike="noStrike" kern="1200" baseline="0" dirty="0"/>
                        <a:t>Person</a:t>
                      </a:r>
                      <a:r>
                        <a:rPr lang="da-DK" sz="1500" u="none" strike="noStrike" kern="1200" baseline="0" dirty="0" smtClean="0"/>
                        <a:t>/ grupp</a:t>
                      </a:r>
                      <a:endParaRPr lang="da-DK" sz="15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/>
                </a:tc>
                <a:tc>
                  <a:txBody>
                    <a:bodyPr/>
                    <a:lstStyle/>
                    <a:p>
                      <a:pPr marL="0" marR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500" u="none" strike="noStrike" kern="1200" baseline="0" dirty="0"/>
                        <a:t>Varför är personen</a:t>
                      </a:r>
                      <a:r>
                        <a:rPr lang="da-DK" sz="1500" u="none" strike="noStrike" kern="1200" baseline="0" dirty="0" smtClean="0"/>
                        <a:t>/ gruppen </a:t>
                      </a:r>
                      <a:r>
                        <a:rPr lang="da-DK" sz="1500" u="none" strike="noStrike" kern="1200" baseline="0" dirty="0"/>
                        <a:t>i den här positionen?</a:t>
                      </a:r>
                      <a:endParaRPr lang="da-DK" sz="15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500" u="none" strike="noStrike" kern="1200" baseline="0" dirty="0"/>
                        <a:t>Vad är nyckeln till att påverka personen</a:t>
                      </a:r>
                      <a:r>
                        <a:rPr lang="da-DK" sz="1500" u="none" strike="noStrike" kern="1200" baseline="0" dirty="0" smtClean="0"/>
                        <a:t>/ gruppen </a:t>
                      </a:r>
                      <a:r>
                        <a:rPr lang="da-DK" sz="1500" u="none" strike="noStrike" kern="1200" baseline="0" dirty="0"/>
                        <a:t>att </a:t>
                      </a:r>
                      <a:r>
                        <a:rPr lang="da-DK" sz="1500" u="none" strike="noStrike" kern="1200" baseline="0" dirty="0" smtClean="0"/>
                        <a:t>förflytta </a:t>
                      </a:r>
                      <a:r>
                        <a:rPr lang="da-DK" sz="1500" u="none" strike="noStrike" kern="1200" baseline="0" dirty="0"/>
                        <a:t>sig?</a:t>
                      </a:r>
                      <a:endParaRPr lang="da-DK" sz="15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500" u="none" strike="noStrike" kern="1200" baseline="0" dirty="0"/>
                        <a:t>Aktiviteter</a:t>
                      </a:r>
                      <a:endParaRPr lang="da-DK" sz="1500" b="1" i="1" u="none" strike="noStrike" kern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2772900444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80503962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352683814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500" b="0" i="0" u="none" strike="noStrike" kern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94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06ftXwPEOavfoMH.eZW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TTP5ckqU216oPNc2mD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b3p0Eeh0eyv.fpp6Xz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MiL7fa9kuFHffiAJYj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7lHy9abEun6pbKO.1K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06ftXwPEOavfoMH.eZ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nhFajVwU.inaCGkhv5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PH9tBUmE.toBg6u9Q7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H2yf4pUuuPiQy0VdW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hmls79qEqsJ9m7Raq3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GZc_q.GUu.hikmEr.x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nhFajVwU.inaCGkhv5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W5z0B_7k.hD.sOk506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ukMla0UW09G1h6AAV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ukMla0UW09G1h6AAV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TTP5ckqU216oPNc2mD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b3p0Eeh0eyv.fpp6Xz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MiL7fa9kuFHffiAJYj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7lHy9abEun6pbKO.1K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PH9tBUmE.toBg6u9Q7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H2yf4pUuuPiQy0VdW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hmls79qEqsJ9m7Raq3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GZc_q.GUu.hikmEr.x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W5z0B_7k.hD.sOk506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ukMla0UW09G1h6AAV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2ukMla0UW09G1h6AAVSw"/>
</p:tagLst>
</file>

<file path=ppt/theme/theme1.xml><?xml version="1.0" encoding="utf-8"?>
<a:theme xmlns:a="http://schemas.openxmlformats.org/drawingml/2006/main" name="Kapitel rö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179</Words>
  <Application>Microsoft Office PowerPoint</Application>
  <PresentationFormat>Bredbild</PresentationFormat>
  <Paragraphs>33</Paragraphs>
  <Slides>4</Slides>
  <Notes>4</Notes>
  <HiddenSlides>0</HiddenSlides>
  <MMClips>0</MMClips>
  <ScaleCrop>false</ScaleCrop>
  <HeadingPairs>
    <vt:vector size="6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Bildrubriker</vt:lpstr>
      </vt:variant>
      <vt:variant>
        <vt:i4>4</vt:i4>
      </vt:variant>
    </vt:vector>
  </HeadingPairs>
  <TitlesOfParts>
    <vt:vector size="7" baseType="lpstr">
      <vt:lpstr>Arial</vt:lpstr>
      <vt:lpstr>Calibri</vt:lpstr>
      <vt:lpstr>Kapitel röd</vt:lpstr>
      <vt:lpstr>PowerPoint-presentation</vt:lpstr>
      <vt:lpstr>PowerPoint-presentation</vt:lpstr>
      <vt:lpstr>PowerPoint-presentation</vt:lpstr>
      <vt:lpstr>PowerPoint-presentation</vt:lpstr>
    </vt:vector>
  </TitlesOfParts>
  <Company>Östhammars Kommu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öderlind, Elin</dc:creator>
  <cp:lastModifiedBy>Söderlind, Elin</cp:lastModifiedBy>
  <cp:revision>2</cp:revision>
  <dcterms:created xsi:type="dcterms:W3CDTF">2022-01-19T16:31:17Z</dcterms:created>
  <dcterms:modified xsi:type="dcterms:W3CDTF">2023-11-03T10:58:40Z</dcterms:modified>
</cp:coreProperties>
</file>